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</p:sldMasterIdLst>
  <p:notesMasterIdLst>
    <p:notesMasterId r:id="rId8"/>
  </p:notesMasterIdLst>
  <p:sldIdLst>
    <p:sldId id="268" r:id="rId3"/>
    <p:sldId id="256" r:id="rId4"/>
    <p:sldId id="257" r:id="rId5"/>
    <p:sldId id="258" r:id="rId6"/>
    <p:sldId id="259" r:id="rId7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5207" autoAdjust="0"/>
  </p:normalViewPr>
  <p:slideViewPr>
    <p:cSldViewPr snapToGrid="0" showGuides="1">
      <p:cViewPr varScale="1">
        <p:scale>
          <a:sx n="91" d="100"/>
          <a:sy n="91" d="100"/>
        </p:scale>
        <p:origin x="1560" y="62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21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 b="1" dirty="0">
                <a:latin typeface="Arial"/>
                <a:cs typeface="Arial"/>
              </a:rPr>
              <a:t>Hinweis zu den Folien: Um feststehende Elemente auf einer Folie zu löschen, auf Ansicht  Master  Folienmaster gehen oder Folienmaster im Suchfeld anklicken.</a:t>
            </a:r>
            <a:endParaRPr b="1" dirty="0"/>
          </a:p>
          <a:p>
            <a:pPr>
              <a:defRPr/>
            </a:pPr>
            <a:endParaRPr lang="de-DE" sz="1100" dirty="0"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I gewinnt an unserer Schule an Bedeutung – wir nutzen sie gezielt als Unterstütz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Ziel heute: </a:t>
            </a:r>
            <a:r>
              <a:rPr lang="de-DE" sz="1100" b="1" dirty="0"/>
              <a:t>Leitplanken klären</a:t>
            </a:r>
            <a:r>
              <a:rPr lang="de-DE" sz="1100" dirty="0"/>
              <a:t> für einen sicheren, gewinnbringenden Einsa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Themen: Datenschutz/DSGVO, schulischer Auftrag vs. Einwilligung, freigegebene Tools, Transparen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Grundsatz: </a:t>
            </a:r>
            <a:r>
              <a:rPr lang="de-DE" sz="1100" b="1" dirty="0"/>
              <a:t>Lehrkraft führt und bewertet</a:t>
            </a:r>
            <a:r>
              <a:rPr lang="de-DE" sz="1100" dirty="0"/>
              <a:t>, KI unterstütz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Kurz s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Ziel: sicherer, klar geregelter KI-Einsatz an unser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Wir nutzen nur freigegebene, datenschutzkonforme Tool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Grundkenntnisse</a:t>
            </a:r>
            <a:r>
              <a:rPr lang="de-DE" dirty="0"/>
              <a:t>: LK über ALP/</a:t>
            </a:r>
            <a:r>
              <a:rPr lang="de-DE" dirty="0" err="1"/>
              <a:t>ByLKI</a:t>
            </a:r>
            <a:r>
              <a:rPr lang="de-DE" dirty="0"/>
              <a:t>, </a:t>
            </a:r>
            <a:r>
              <a:rPr lang="de-DE" dirty="0" err="1"/>
              <a:t>SuS</a:t>
            </a:r>
            <a:r>
              <a:rPr lang="de-DE" dirty="0"/>
              <a:t> im Unterricht mit dem KI-Kompa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Datenschutzkonform</a:t>
            </a:r>
            <a:r>
              <a:rPr lang="de-DE" dirty="0"/>
              <a:t>: nur Systeme, die DSGVO und Datenschutzrichtlinien der EU entspre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e personenbezogenen Daten</a:t>
            </a:r>
            <a:r>
              <a:rPr lang="de-DE" dirty="0"/>
              <a:t>: keine Namen, Fotos, Klassenlisten, Leistungsdaten in KI-Anwend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 Training mit Schülerdaten</a:t>
            </a:r>
            <a:r>
              <a:rPr lang="de-DE" dirty="0"/>
              <a:t>: Eingaben der </a:t>
            </a:r>
            <a:r>
              <a:rPr lang="de-DE" dirty="0" err="1"/>
              <a:t>SuS</a:t>
            </a:r>
            <a:r>
              <a:rPr lang="de-DE" dirty="0"/>
              <a:t> werden nicht zur Modellweiterentwicklung genutz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nnzeichnung</a:t>
            </a:r>
            <a:r>
              <a:rPr lang="de-DE" dirty="0"/>
              <a:t>: KI-Anteile in Abgaben und Produkten sichtbar ma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Prüfung</a:t>
            </a:r>
            <a:r>
              <a:rPr lang="de-DE" dirty="0"/>
              <a:t>: Inhalte auf Richtigkeit, Quellen und mögliche Verzerrungen prüfen – KI gibt Feedback, Lehrkraft bewerte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Hinweis für E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Transparenz immer, Einwilligung nur wo erforderlich (z. B. Veröffentlichung, freiwillige Angebot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5FABF95-4DB6-EBED-AE99-F3261B414290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Einstie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mpulsfrage: Wie lernen </a:t>
            </a:r>
            <a:r>
              <a:rPr lang="de-DE" sz="1100" dirty="0" err="1"/>
              <a:t>SuS</a:t>
            </a:r>
            <a:r>
              <a:rPr lang="de-DE" sz="1100" dirty="0"/>
              <a:t> den Umgang mit KI an d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Antwort: angeleitetes Ausprobieren </a:t>
            </a:r>
            <a:r>
              <a:rPr lang="de-DE" sz="1100" b="1" dirty="0"/>
              <a:t>im geschützten Rahmen</a:t>
            </a:r>
            <a:r>
              <a:rPr lang="de-DE" sz="1100" dirty="0"/>
              <a:t> und nach klaren Reg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Rechtli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r</a:t>
            </a:r>
            <a:r>
              <a:rPr lang="de-DE" sz="1100" b="1" dirty="0"/>
              <a:t> DSGVO-konforme</a:t>
            </a:r>
            <a:r>
              <a:rPr lang="de-DE" sz="1100" dirty="0"/>
              <a:t> Too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eine personenbezogenen Daten in offene Syste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Urheberrecht, Altersgrenzen, Jugendschutz beach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inwilligung nur wo nötig, Transparenz imm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Schulis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Orientierung am </a:t>
            </a:r>
            <a:r>
              <a:rPr lang="de-DE" sz="1100" b="1" dirty="0" err="1"/>
              <a:t>LehrplanPlus</a:t>
            </a:r>
            <a:r>
              <a:rPr lang="de-DE" sz="1100" dirty="0"/>
              <a:t> und an Zielen der Medienbi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Lehrkraft wählt Aufgaben, reduziert didaktisch, passt das Niveau 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tzung zur </a:t>
            </a:r>
            <a:r>
              <a:rPr lang="de-DE" sz="1100" b="1" dirty="0"/>
              <a:t>Übung, Differenzierung, Feedback</a:t>
            </a:r>
            <a:r>
              <a:rPr lang="de-DE" sz="1100" dirty="0"/>
              <a:t>, nicht zur Bewertung durch KI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Kritisches Hinterfr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nhalte prüfen: </a:t>
            </a:r>
            <a:r>
              <a:rPr lang="de-DE" sz="1100" b="1" dirty="0"/>
              <a:t>Quellen öffnen, Datum, Bias </a:t>
            </a:r>
            <a:r>
              <a:rPr lang="de-DE" sz="1100" b="0" dirty="0"/>
              <a:t>(Vorurteile)</a:t>
            </a:r>
            <a:endParaRPr lang="de-DE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I-Anteil kennzeichnen, Eigenleistung sich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thische Fragen thematisieren: Was darf KI, wo sind Grenze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0EFE9C-397E-F82E-B6F6-B9630F0F66BD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7832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oleObj" r:id="rId16" imgW="7772400" imgH="10058400" progId="TCLayout.ActiveDocument.1">
                  <p:embed/>
                </p:oleObj>
              </mc:Choice>
              <mc:Fallback>
                <p:oleObj name="oleObj" r:id="rId16" imgW="7772400" imgH="10058400" progId="TCLayout.ActiveDocument.1">
                  <p:embed/>
                  <p:pic>
                    <p:nvPicPr>
                      <p:cNvPr id="50" name=""/>
                      <p:cNvPicPr/>
                      <p:nvPr/>
                    </p:nvPicPr>
                    <p:blipFill>
                      <a:blip r:embed="rId17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5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Bevor sie diese Präsentation auf ihrem elternabend zeigen wollen …</a:t>
            </a:r>
            <a:endParaRPr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0" y="5124852"/>
            <a:ext cx="5545854" cy="603863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Rechtliche Rahmenbedingungen</a:t>
            </a:r>
            <a:endParaRPr/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478126" y="814968"/>
            <a:ext cx="7138411" cy="1605568"/>
          </a:xfrm>
        </p:spPr>
        <p:txBody>
          <a:bodyPr/>
          <a:lstStyle/>
          <a:p>
            <a:pPr algn="ctr">
              <a:defRPr/>
            </a:pPr>
            <a:r>
              <a:rPr lang="de-DE"/>
              <a:t>KI-Anwendungen </a:t>
            </a:r>
            <a:endParaRPr/>
          </a:p>
          <a:p>
            <a:pPr algn="ctr">
              <a:defRPr/>
            </a:pPr>
            <a:r>
              <a:rPr lang="de-DE"/>
              <a:t>in der Schule </a:t>
            </a:r>
            <a:endParaRPr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195706" y="2957430"/>
            <a:ext cx="4829950" cy="3219966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cs typeface="Segoe UI"/>
              </a:rPr>
              <a:t>Rechtliche Rahmenbedingung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</a:t>
            </a:r>
            <a:endParaRPr/>
          </a:p>
        </p:txBody>
      </p:sp>
      <p:sp>
        <p:nvSpPr>
          <p:cNvPr id="2" name="Rectangle 1"/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5696" y="1489663"/>
            <a:ext cx="11305730" cy="3749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und Schülerinnen und Schüler haben Grundkenntnisse zu KI (z. B. Fortbildung zu </a:t>
            </a:r>
            <a:r>
              <a:rPr lang="de-DE" b="0" i="0" u="none" strike="noStrike" cap="none" dirty="0" err="1">
                <a:ln>
                  <a:noFill/>
                </a:ln>
                <a:latin typeface="Aptos"/>
              </a:rPr>
              <a:t>ByLKI</a:t>
            </a:r>
            <a:r>
              <a:rPr lang="de-DE" b="0" i="0" u="none" strike="noStrike" cap="none" dirty="0">
                <a:ln>
                  <a:noFill/>
                </a:ln>
                <a:latin typeface="Aptos"/>
              </a:rPr>
              <a:t>, KI-Kompass), bevor sie KI-Systeme nutz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Nur datenschutzkonforme KI-Systeme werden eingesetz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s werden keine personenbezogenen Daten eingegeb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ingaben von Schülerinnen und Schülern werden nicht zum Training der KI verwende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KI-generierte Inhalte müssen immer gekennzeichnet werd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sowie Schülerinnen und Schüler prüfen KI-Inhalte auf Richtigkeit.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auto">
          <a:xfrm>
            <a:off x="745068" y="1676900"/>
            <a:ext cx="7357740" cy="4091722"/>
          </a:xfrm>
        </p:spPr>
        <p:txBody>
          <a:bodyPr anchor="t"/>
          <a:lstStyle/>
          <a:p>
            <a:pPr algn="l">
              <a:defRPr/>
            </a:pPr>
            <a:r>
              <a:rPr lang="de-DE" sz="2400" dirty="0"/>
              <a:t>                 </a:t>
            </a:r>
            <a:endParaRPr dirty="0"/>
          </a:p>
          <a:p>
            <a:pPr algn="l">
              <a:defRPr/>
            </a:pPr>
            <a:r>
              <a:rPr lang="de-DE" sz="2400" b="1" dirty="0"/>
              <a:t>	    Rechtliche Rahmenbedingungen</a:t>
            </a:r>
            <a:endParaRPr lang="de-DE" sz="2400" dirty="0"/>
          </a:p>
          <a:p>
            <a:pPr algn="l">
              <a:defRPr/>
            </a:pPr>
            <a:r>
              <a:rPr lang="de-DE" sz="2400" dirty="0"/>
              <a:t>                 </a:t>
            </a:r>
            <a:r>
              <a:rPr lang="de-DE" sz="1800" dirty="0"/>
              <a:t>Urheberrecht, Altersgrenzen, Jugendschutz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600" dirty="0"/>
              <a:t>	      </a:t>
            </a:r>
            <a:r>
              <a:rPr lang="de-DE" sz="2400" b="1" dirty="0"/>
              <a:t>Schulische Rahmenbedingun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</a:t>
            </a:r>
            <a:r>
              <a:rPr lang="de-DE" sz="1800" dirty="0" err="1"/>
              <a:t>LehrplanPlus</a:t>
            </a:r>
            <a:r>
              <a:rPr lang="de-DE" sz="1800" dirty="0"/>
              <a:t>, Medienbildung, Didaktik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800" dirty="0"/>
              <a:t>	      </a:t>
            </a:r>
            <a:r>
              <a:rPr lang="de-DE" sz="2400" b="1" dirty="0"/>
              <a:t>Kritisches Hinterfra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 </a:t>
            </a:r>
            <a:r>
              <a:rPr lang="de-DE" sz="1800" dirty="0"/>
              <a:t>Richtigkeit, ethische Fragestellungen</a:t>
            </a:r>
            <a:endParaRPr lang="de-DE" sz="2400" b="1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Verwendung von KI-basierten System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 – Rechtliche Rahmenbedingungen</a:t>
            </a:r>
            <a:endParaRPr/>
          </a:p>
        </p:txBody>
      </p:sp>
      <p:pic>
        <p:nvPicPr>
          <p:cNvPr id="3" name="Grafik 2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95882" y="1801276"/>
            <a:ext cx="963735" cy="963735"/>
          </a:xfrm>
          <a:prstGeom prst="rect">
            <a:avLst/>
          </a:prstGeom>
        </p:spPr>
      </p:pic>
      <p:pic>
        <p:nvPicPr>
          <p:cNvPr id="7" name="Grafik 6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5882" y="3075204"/>
            <a:ext cx="898116" cy="898116"/>
          </a:xfrm>
          <a:prstGeom prst="rect">
            <a:avLst/>
          </a:prstGeom>
        </p:spPr>
      </p:pic>
      <p:pic>
        <p:nvPicPr>
          <p:cNvPr id="8" name="Grafik 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095882" y="4305421"/>
            <a:ext cx="898116" cy="898116"/>
          </a:xfrm>
          <a:prstGeom prst="rect">
            <a:avLst/>
          </a:prstGeom>
        </p:spPr>
      </p:pic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8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445281" y="3973321"/>
            <a:ext cx="3403504" cy="2269002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Programme in der Schule – Rechtliche Rahmenbedingungen 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035" y="845721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Quellenangaben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sz="1400">
                <a:solidFill>
                  <a:srgbClr val="000000"/>
                </a:solidFill>
                <a:latin typeface="Helvetica"/>
              </a:rPr>
              <a:t>Soweit nicht anders gekennzeichnet</a:t>
            </a:r>
            <a:endParaRPr/>
          </a:p>
          <a:p>
            <a:pPr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LM Stiftung Medienpädagogik Bayern, CC-BY-NC-4.0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7</Words>
  <Application>Microsoft Office PowerPoint</Application>
  <DocSecurity>0</DocSecurity>
  <PresentationFormat>Breitbild</PresentationFormat>
  <Paragraphs>92</Paragraphs>
  <Slides>5</Slides>
  <Notes>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ptos</vt:lpstr>
      <vt:lpstr>Arial</vt:lpstr>
      <vt:lpstr>Calibri</vt:lpstr>
      <vt:lpstr>Helvetica</vt:lpstr>
      <vt:lpstr>Segoe UI</vt:lpstr>
      <vt:lpstr>Cover 01</vt:lpstr>
      <vt:lpstr>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25</cp:revision>
  <dcterms:created xsi:type="dcterms:W3CDTF">2024-05-08T06:34:22Z</dcterms:created>
  <dcterms:modified xsi:type="dcterms:W3CDTF">2025-08-21T12:24:03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